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37.xml" ContentType="application/vnd.openxmlformats-officedocument.presentationml.tags+xml"/>
  <Override PartName="/ppt/charts/chart8.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39.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40.xml" ContentType="application/vnd.openxmlformats-officedocument.presentationml.tags+xml"/>
  <Override PartName="/ppt/charts/chart11.xml" ContentType="application/vnd.openxmlformats-officedocument.drawingml.chart+xml"/>
  <Override PartName="/ppt/tags/tag41.xml" ContentType="application/vnd.openxmlformats-officedocument.presentationml.tags+xml"/>
  <Override PartName="/ppt/charts/chart12.xml" ContentType="application/vnd.openxmlformats-officedocument.drawingml.chart+xml"/>
  <Override PartName="/ppt/tags/tag42.xml" ContentType="application/vnd.openxmlformats-officedocument.presentationml.tags+xml"/>
  <Override PartName="/ppt/charts/chart13.xml" ContentType="application/vnd.openxmlformats-officedocument.drawingml.chart+xml"/>
  <Override PartName="/ppt/tags/tag43.xml" ContentType="application/vnd.openxmlformats-officedocument.presentationml.tags+xml"/>
  <Override PartName="/ppt/charts/chart14.xml" ContentType="application/vnd.openxmlformats-officedocument.drawingml.chart+xml"/>
  <Override PartName="/ppt/tags/tag44.xml" ContentType="application/vnd.openxmlformats-officedocument.presentationml.tags+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tags/tag45.xml" ContentType="application/vnd.openxmlformats-officedocument.presentationml.tag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ags/tag46.xml" ContentType="application/vnd.openxmlformats-officedocument.presentationml.tags+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3.xml" ContentType="application/vnd.openxmlformats-officedocument.drawingml.chart+xml"/>
  <Override PartName="/ppt/charts/style13.xml" ContentType="application/vnd.ms-office.chartstyle+xml"/>
  <Override PartName="/ppt/charts/colors13.xml" ContentType="application/vnd.ms-office.chartcolorstyle+xml"/>
  <Override PartName="/ppt/tags/tag47.xml" ContentType="application/vnd.openxmlformats-officedocument.presentationml.tags+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tags/tag48.xml" ContentType="application/vnd.openxmlformats-officedocument.presentationml.tags+xml"/>
  <Override PartName="/ppt/charts/chart26.xml" ContentType="application/vnd.openxmlformats-officedocument.drawingml.chart+xml"/>
  <Override PartName="/ppt/tags/tag49.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50.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51.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53.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54.xml" ContentType="application/vnd.openxmlformats-officedocument.presentationml.tags+xml"/>
  <Override PartName="/ppt/notesSlides/notesSlide8.xml" ContentType="application/vnd.openxmlformats-officedocument.presentationml.notesSlide+xml"/>
  <Override PartName="/ppt/charts/chart47.xml" ContentType="application/vnd.openxmlformats-officedocument.drawingml.chart+xml"/>
  <Override PartName="/ppt/charts/style16.xml" ContentType="application/vnd.ms-office.chartstyle+xml"/>
  <Override PartName="/ppt/charts/colors16.xml" ContentType="application/vnd.ms-office.chartcolorstyle+xml"/>
  <Override PartName="/ppt/tags/tag55.xml" ContentType="application/vnd.openxmlformats-officedocument.presentationml.tags+xml"/>
  <Override PartName="/ppt/notesSlides/notesSlide9.xml" ContentType="application/vnd.openxmlformats-officedocument.presentationml.notesSlide+xml"/>
  <Override PartName="/ppt/charts/chart4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9.xml" ContentType="application/vnd.openxmlformats-officedocument.drawingml.chart+xml"/>
  <Override PartName="/ppt/charts/style18.xml" ContentType="application/vnd.ms-office.chartstyle+xml"/>
  <Override PartName="/ppt/charts/colors18.xml" ContentType="application/vnd.ms-office.chartcolorstyle+xml"/>
  <Override PartName="/ppt/tags/tag56.xml" ContentType="application/vnd.openxmlformats-officedocument.presentationml.tags+xml"/>
  <Override PartName="/ppt/notesSlides/notesSlide10.xml" ContentType="application/vnd.openxmlformats-officedocument.presentationml.notesSlide+xml"/>
  <Override PartName="/ppt/charts/chart5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5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52.xml" ContentType="application/vnd.openxmlformats-officedocument.drawingml.chart+xml"/>
  <Override PartName="/ppt/charts/style21.xml" ContentType="application/vnd.ms-office.chartstyle+xml"/>
  <Override PartName="/ppt/charts/colors21.xml" ContentType="application/vnd.ms-office.chartcolorstyle+xml"/>
  <Override PartName="/ppt/tags/tag57.xml" ContentType="application/vnd.openxmlformats-officedocument.presentationml.tags+xml"/>
  <Override PartName="/ppt/notesSlides/notesSlide11.xml" ContentType="application/vnd.openxmlformats-officedocument.presentationml.notesSlide+xml"/>
  <Override PartName="/ppt/charts/chart5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5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5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56.xml" ContentType="application/vnd.openxmlformats-officedocument.drawingml.chart+xml"/>
  <Override PartName="/ppt/charts/style25.xml" ContentType="application/vnd.ms-office.chartstyle+xml"/>
  <Override PartName="/ppt/charts/colors25.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35"/>
  </p:notesMasterIdLst>
  <p:sldIdLst>
    <p:sldId id="2147329454" r:id="rId5"/>
    <p:sldId id="2147475152" r:id="rId6"/>
    <p:sldId id="2147475178" r:id="rId7"/>
    <p:sldId id="2147473013" r:id="rId8"/>
    <p:sldId id="2147475151" r:id="rId9"/>
    <p:sldId id="2147473025" r:id="rId10"/>
    <p:sldId id="2147473029" r:id="rId11"/>
    <p:sldId id="2147473030" r:id="rId12"/>
    <p:sldId id="2147378510" r:id="rId13"/>
    <p:sldId id="2147378508" r:id="rId14"/>
    <p:sldId id="2147472930" r:id="rId15"/>
    <p:sldId id="2147475193" r:id="rId16"/>
    <p:sldId id="2147378386" r:id="rId17"/>
    <p:sldId id="2147471718" r:id="rId18"/>
    <p:sldId id="2147475156" r:id="rId19"/>
    <p:sldId id="2147378154" r:id="rId20"/>
    <p:sldId id="2147378155" r:id="rId21"/>
    <p:sldId id="2147378156" r:id="rId22"/>
    <p:sldId id="2147378157" r:id="rId23"/>
    <p:sldId id="2147473882" r:id="rId24"/>
    <p:sldId id="2147475174" r:id="rId25"/>
    <p:sldId id="2147475173" r:id="rId26"/>
    <p:sldId id="2147475171" r:id="rId27"/>
    <p:sldId id="2147475170" r:id="rId28"/>
    <p:sldId id="370" r:id="rId29"/>
    <p:sldId id="2147475172" r:id="rId30"/>
    <p:sldId id="2147475182" r:id="rId31"/>
    <p:sldId id="2147475181" r:id="rId32"/>
    <p:sldId id="2147475180" r:id="rId33"/>
    <p:sldId id="2147475179" r:id="rId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91" d="100"/>
          <a:sy n="91" d="100"/>
        </p:scale>
        <p:origin x="810" y="66"/>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DEC2644B-FBB3-4E70-8177-D39ED5E85D5B}"/>
    <pc:docChg chg="custSel modSld delMainMaster">
      <pc:chgData name="Neriman EL HADIDI" userId="4b24840c-84b3-44ac-9131-ca3568cb403b" providerId="ADAL" clId="{DEC2644B-FBB3-4E70-8177-D39ED5E85D5B}" dt="2024-11-01T09:06:09.704" v="16" actId="27918"/>
      <pc:docMkLst>
        <pc:docMk/>
      </pc:docMkLst>
      <pc:sldChg chg="delSp mod">
        <pc:chgData name="Neriman EL HADIDI" userId="4b24840c-84b3-44ac-9131-ca3568cb403b" providerId="ADAL" clId="{DEC2644B-FBB3-4E70-8177-D39ED5E85D5B}" dt="2024-11-01T09:05:30.544" v="12" actId="478"/>
        <pc:sldMkLst>
          <pc:docMk/>
          <pc:sldMk cId="3644918162" sldId="370"/>
        </pc:sldMkLst>
        <pc:spChg chg="del">
          <ac:chgData name="Neriman EL HADIDI" userId="4b24840c-84b3-44ac-9131-ca3568cb403b" providerId="ADAL" clId="{DEC2644B-FBB3-4E70-8177-D39ED5E85D5B}" dt="2024-11-01T09:05:30.544" v="12" actId="478"/>
          <ac:spMkLst>
            <pc:docMk/>
            <pc:sldMk cId="3644918162" sldId="370"/>
            <ac:spMk id="2" creationId="{6F37D498-61D2-430B-0FFE-1D6053FC2C2E}"/>
          </ac:spMkLst>
        </pc:spChg>
        <pc:spChg chg="del">
          <ac:chgData name="Neriman EL HADIDI" userId="4b24840c-84b3-44ac-9131-ca3568cb403b" providerId="ADAL" clId="{DEC2644B-FBB3-4E70-8177-D39ED5E85D5B}" dt="2024-11-01T09:05:30.544" v="12" actId="478"/>
          <ac:spMkLst>
            <pc:docMk/>
            <pc:sldMk cId="3644918162" sldId="370"/>
            <ac:spMk id="3" creationId="{E672400A-1108-3E3C-7422-CBA7B51FF8C8}"/>
          </ac:spMkLst>
        </pc:spChg>
      </pc:sldChg>
      <pc:sldChg chg="modSp mod">
        <pc:chgData name="Neriman EL HADIDI" userId="4b24840c-84b3-44ac-9131-ca3568cb403b" providerId="ADAL" clId="{DEC2644B-FBB3-4E70-8177-D39ED5E85D5B}" dt="2024-11-01T09:06:09.704" v="16" actId="27918"/>
        <pc:sldMkLst>
          <pc:docMk/>
          <pc:sldMk cId="1411033201" sldId="408"/>
        </pc:sldMkLst>
        <pc:graphicFrameChg chg="mod">
          <ac:chgData name="Neriman EL HADIDI" userId="4b24840c-84b3-44ac-9131-ca3568cb403b" providerId="ADAL" clId="{DEC2644B-FBB3-4E70-8177-D39ED5E85D5B}" dt="2024-11-01T09:05:51.351" v="13"/>
          <ac:graphicFrameMkLst>
            <pc:docMk/>
            <pc:sldMk cId="1411033201" sldId="408"/>
            <ac:graphicFrameMk id="16" creationId="{1500463F-9113-F853-0F0E-F384F111BD54}"/>
          </ac:graphicFrameMkLst>
        </pc:graphicFrameChg>
      </pc:sldChg>
      <pc:sldChg chg="modSp">
        <pc:chgData name="Neriman EL HADIDI" userId="4b24840c-84b3-44ac-9131-ca3568cb403b" providerId="ADAL" clId="{DEC2644B-FBB3-4E70-8177-D39ED5E85D5B}" dt="2024-11-01T09:01:17.763" v="4"/>
        <pc:sldMkLst>
          <pc:docMk/>
          <pc:sldMk cId="2693478404" sldId="2147329454"/>
        </pc:sldMkLst>
        <pc:graphicFrameChg chg="mod">
          <ac:chgData name="Neriman EL HADIDI" userId="4b24840c-84b3-44ac-9131-ca3568cb403b" providerId="ADAL" clId="{DEC2644B-FBB3-4E70-8177-D39ED5E85D5B}" dt="2024-11-01T09:01:10.407" v="3"/>
          <ac:graphicFrameMkLst>
            <pc:docMk/>
            <pc:sldMk cId="2693478404" sldId="2147329454"/>
            <ac:graphicFrameMk id="16" creationId="{D7F2F964-1E28-4339-8493-893E64CC273B}"/>
          </ac:graphicFrameMkLst>
        </pc:graphicFrameChg>
        <pc:graphicFrameChg chg="mod">
          <ac:chgData name="Neriman EL HADIDI" userId="4b24840c-84b3-44ac-9131-ca3568cb403b" providerId="ADAL" clId="{DEC2644B-FBB3-4E70-8177-D39ED5E85D5B}" dt="2024-11-01T09:01:17.763" v="4"/>
          <ac:graphicFrameMkLst>
            <pc:docMk/>
            <pc:sldMk cId="2693478404" sldId="2147329454"/>
            <ac:graphicFrameMk id="22" creationId="{B6BC63DB-BB68-E22B-6F46-70632876165B}"/>
          </ac:graphicFrameMkLst>
        </pc:graphicFrameChg>
      </pc:sldChg>
      <pc:sldChg chg="modSp">
        <pc:chgData name="Neriman EL HADIDI" userId="4b24840c-84b3-44ac-9131-ca3568cb403b" providerId="ADAL" clId="{DEC2644B-FBB3-4E70-8177-D39ED5E85D5B}" dt="2024-11-01T09:04:49.391" v="10"/>
        <pc:sldMkLst>
          <pc:docMk/>
          <pc:sldMk cId="1340521327" sldId="2147378386"/>
        </pc:sldMkLst>
        <pc:graphicFrameChg chg="mod">
          <ac:chgData name="Neriman EL HADIDI" userId="4b24840c-84b3-44ac-9131-ca3568cb403b" providerId="ADAL" clId="{DEC2644B-FBB3-4E70-8177-D39ED5E85D5B}" dt="2024-11-01T09:04:49.391" v="10"/>
          <ac:graphicFrameMkLst>
            <pc:docMk/>
            <pc:sldMk cId="1340521327" sldId="2147378386"/>
            <ac:graphicFrameMk id="22" creationId="{BDCCA8F9-9B4E-4C69-981A-F30479D8A570}"/>
          </ac:graphicFrameMkLst>
        </pc:graphicFrameChg>
      </pc:sldChg>
      <pc:sldChg chg="modSp mod">
        <pc:chgData name="Neriman EL HADIDI" userId="4b24840c-84b3-44ac-9131-ca3568cb403b" providerId="ADAL" clId="{DEC2644B-FBB3-4E70-8177-D39ED5E85D5B}" dt="2024-11-01T09:00:54.519" v="2" actId="14100"/>
        <pc:sldMkLst>
          <pc:docMk/>
          <pc:sldMk cId="1380102355" sldId="2147378506"/>
        </pc:sldMkLst>
        <pc:graphicFrameChg chg="mod modGraphic">
          <ac:chgData name="Neriman EL HADIDI" userId="4b24840c-84b3-44ac-9131-ca3568cb403b" providerId="ADAL" clId="{DEC2644B-FBB3-4E70-8177-D39ED5E85D5B}" dt="2024-11-01T09:00:54.519" v="2" actId="14100"/>
          <ac:graphicFrameMkLst>
            <pc:docMk/>
            <pc:sldMk cId="1380102355" sldId="2147378506"/>
            <ac:graphicFrameMk id="3" creationId="{BF02A555-6E65-401F-8EC5-C5F12914697A}"/>
          </ac:graphicFrameMkLst>
        </pc:graphicFrameChg>
      </pc:sldChg>
      <pc:sldChg chg="modSp">
        <pc:chgData name="Neriman EL HADIDI" userId="4b24840c-84b3-44ac-9131-ca3568cb403b" providerId="ADAL" clId="{DEC2644B-FBB3-4E70-8177-D39ED5E85D5B}" dt="2024-11-01T09:03:55.942" v="9"/>
        <pc:sldMkLst>
          <pc:docMk/>
          <pc:sldMk cId="3546637518" sldId="2147378510"/>
        </pc:sldMkLst>
        <pc:graphicFrameChg chg="mod">
          <ac:chgData name="Neriman EL HADIDI" userId="4b24840c-84b3-44ac-9131-ca3568cb403b" providerId="ADAL" clId="{DEC2644B-FBB3-4E70-8177-D39ED5E85D5B}" dt="2024-11-01T09:03:55.942" v="9"/>
          <ac:graphicFrameMkLst>
            <pc:docMk/>
            <pc:sldMk cId="3546637518" sldId="2147378510"/>
            <ac:graphicFrameMk id="6" creationId="{903336ED-9778-D2E5-A3B1-EA932B617DB3}"/>
          </ac:graphicFrameMkLst>
        </pc:graphicFrameChg>
        <pc:graphicFrameChg chg="mod">
          <ac:chgData name="Neriman EL HADIDI" userId="4b24840c-84b3-44ac-9131-ca3568cb403b" providerId="ADAL" clId="{DEC2644B-FBB3-4E70-8177-D39ED5E85D5B}" dt="2024-11-01T09:03:47.948" v="8"/>
          <ac:graphicFrameMkLst>
            <pc:docMk/>
            <pc:sldMk cId="3546637518" sldId="2147378510"/>
            <ac:graphicFrameMk id="20" creationId="{4F1AC2C4-E03E-4D63-9CFE-5DD45DD67548}"/>
          </ac:graphicFrameMkLst>
        </pc:graphicFrameChg>
      </pc:sldChg>
      <pc:sldChg chg="modSp">
        <pc:chgData name="Neriman EL HADIDI" userId="4b24840c-84b3-44ac-9131-ca3568cb403b" providerId="ADAL" clId="{DEC2644B-FBB3-4E70-8177-D39ED5E85D5B}" dt="2024-11-01T09:04:58.900" v="11"/>
        <pc:sldMkLst>
          <pc:docMk/>
          <pc:sldMk cId="2800720980" sldId="2147471718"/>
        </pc:sldMkLst>
        <pc:graphicFrameChg chg="mod">
          <ac:chgData name="Neriman EL HADIDI" userId="4b24840c-84b3-44ac-9131-ca3568cb403b" providerId="ADAL" clId="{DEC2644B-FBB3-4E70-8177-D39ED5E85D5B}" dt="2024-11-01T09:04:58.900" v="11"/>
          <ac:graphicFrameMkLst>
            <pc:docMk/>
            <pc:sldMk cId="2800720980" sldId="2147471718"/>
            <ac:graphicFrameMk id="22" creationId="{BDCCA8F9-9B4E-4C69-981A-F30479D8A570}"/>
          </ac:graphicFrameMkLst>
        </pc:graphicFrameChg>
      </pc:sldChg>
      <pc:sldChg chg="modSp mod">
        <pc:chgData name="Neriman EL HADIDI" userId="4b24840c-84b3-44ac-9131-ca3568cb403b" providerId="ADAL" clId="{DEC2644B-FBB3-4E70-8177-D39ED5E85D5B}" dt="2024-11-01T09:06:06.280" v="15" actId="27918"/>
        <pc:sldMkLst>
          <pc:docMk/>
          <pc:sldMk cId="354591731" sldId="2147473384"/>
        </pc:sldMkLst>
        <pc:graphicFrameChg chg="mod">
          <ac:chgData name="Neriman EL HADIDI" userId="4b24840c-84b3-44ac-9131-ca3568cb403b" providerId="ADAL" clId="{DEC2644B-FBB3-4E70-8177-D39ED5E85D5B}" dt="2024-11-01T09:06:02.513" v="14"/>
          <ac:graphicFrameMkLst>
            <pc:docMk/>
            <pc:sldMk cId="354591731" sldId="2147473384"/>
            <ac:graphicFrameMk id="16" creationId="{1500463F-9113-F853-0F0E-F384F111BD54}"/>
          </ac:graphicFrameMkLst>
        </pc:graphicFrameChg>
      </pc:sldChg>
      <pc:sldChg chg="delSp mod">
        <pc:chgData name="Neriman EL HADIDI" userId="4b24840c-84b3-44ac-9131-ca3568cb403b" providerId="ADAL" clId="{DEC2644B-FBB3-4E70-8177-D39ED5E85D5B}" dt="2024-11-01T09:02:21.352" v="5" actId="478"/>
        <pc:sldMkLst>
          <pc:docMk/>
          <pc:sldMk cId="3548136992" sldId="2147475151"/>
        </pc:sldMkLst>
        <pc:spChg chg="del">
          <ac:chgData name="Neriman EL HADIDI" userId="4b24840c-84b3-44ac-9131-ca3568cb403b" providerId="ADAL" clId="{DEC2644B-FBB3-4E70-8177-D39ED5E85D5B}" dt="2024-11-01T09:02:21.352" v="5" actId="478"/>
          <ac:spMkLst>
            <pc:docMk/>
            <pc:sldMk cId="3548136992" sldId="2147475151"/>
            <ac:spMk id="13" creationId="{07164268-310E-52F7-2DCD-44921744491C}"/>
          </ac:spMkLst>
        </pc:spChg>
      </pc:sldChg>
      <pc:sldMasterChg chg="del">
        <pc:chgData name="Neriman EL HADIDI" userId="4b24840c-84b3-44ac-9131-ca3568cb403b" providerId="ADAL" clId="{DEC2644B-FBB3-4E70-8177-D39ED5E85D5B}" dt="2024-11-01T09:00:26.894" v="0" actId="2696"/>
        <pc:sldMasterMkLst>
          <pc:docMk/>
          <pc:sldMasterMk cId="823099819" sldId="2147483792"/>
        </pc:sldMasterMkLst>
      </pc:sldMasterChg>
      <pc:sldMasterChg chg="del">
        <pc:chgData name="Neriman EL HADIDI" userId="4b24840c-84b3-44ac-9131-ca3568cb403b" providerId="ADAL" clId="{DEC2644B-FBB3-4E70-8177-D39ED5E85D5B}" dt="2024-11-01T09:00:36.050" v="1" actId="2696"/>
        <pc:sldMasterMkLst>
          <pc:docMk/>
          <pc:sldMasterMk cId="2323846169" sldId="2147483844"/>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0.xml"/><Relationship Id="rId1" Type="http://schemas.microsoft.com/office/2011/relationships/chartStyle" Target="style1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1.xml"/><Relationship Id="rId1" Type="http://schemas.microsoft.com/office/2011/relationships/chartStyle" Target="style1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2.xml"/><Relationship Id="rId1" Type="http://schemas.microsoft.com/office/2011/relationships/chartStyle" Target="style1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3.xml"/><Relationship Id="rId1" Type="http://schemas.microsoft.com/office/2011/relationships/chartStyle" Target="style1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16.xml"/><Relationship Id="rId1" Type="http://schemas.microsoft.com/office/2011/relationships/chartStyle" Target="style16.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17.xml"/><Relationship Id="rId1" Type="http://schemas.microsoft.com/office/2011/relationships/chartStyle" Target="style17.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8.xml"/><Relationship Id="rId1" Type="http://schemas.microsoft.com/office/2011/relationships/chartStyle" Target="style18.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19.xml"/><Relationship Id="rId1" Type="http://schemas.microsoft.com/office/2011/relationships/chartStyle" Target="style19.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20.xml"/><Relationship Id="rId1" Type="http://schemas.microsoft.com/office/2011/relationships/chartStyle" Target="style20.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21.xml"/><Relationship Id="rId1" Type="http://schemas.microsoft.com/office/2011/relationships/chartStyle" Target="style21.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22.xml"/><Relationship Id="rId1" Type="http://schemas.microsoft.com/office/2011/relationships/chartStyle" Target="style22.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23.xml"/><Relationship Id="rId1" Type="http://schemas.microsoft.com/office/2011/relationships/chartStyle" Target="style23.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24.xml"/><Relationship Id="rId1" Type="http://schemas.microsoft.com/office/2011/relationships/chartStyle" Target="style24.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25.xml"/><Relationship Id="rId1" Type="http://schemas.microsoft.com/office/2011/relationships/chartStyle" Target="style2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756328472E-2"/>
          <c:y val="3.7948661595622463E-2"/>
          <c:w val="0.93691511195956778"/>
          <c:h val="0.78210123658438346"/>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Feature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1018634592872957"/>
          <c:y val="0.9195782501361186"/>
          <c:w val="0.34355071262700604"/>
          <c:h val="8.0421749863881425E-2"/>
        </c:manualLayout>
      </c:layou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8980341809E-2"/>
          <c:y val="4.1660304546965121E-2"/>
          <c:w val="0.93691511195956778"/>
          <c:h val="0.7820524939432844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Display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6596513476788334"/>
          <c:y val="0.92935175768467493"/>
          <c:w val="0.26493263520201288"/>
          <c:h val="6.3586476328904809E-2"/>
        </c:manualLayout>
      </c:layou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2A09-4FFC-9D4D-9CC3F6B2DEDD}"/>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7F1C-42D6-AB69-34F16F98F945}"/>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4E00-47D8-B98F-F888755F1F0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02F460B2-C43A-4D4B-9FFF-93F4722C9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AC6B1450-7B7E-42C2-93A9-26F7BF5D9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45E1A4B6-E169-42FC-BA56-86D0DAEC4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E3F3EDE1-F4DF-4A9D-B66D-43D36903E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02AA608D-8B19-4A0A-BE61-C227CE01C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39C1F234-16F4-4DF6-A7D4-B2852CD14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60D72ADC-D2F9-4429-8F67-DCE25D448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91583828-2542-4BCF-8A61-D371796F2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AD7FA9FC-8942-4EF0-BE4D-8E61E1996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F678DC7B-5B8C-4DB9-A9C2-A07CCC59C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135176EE-C054-4227-A6FE-D611585EC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055F1209-2DBC-40EF-BA95-6B115B0CA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68E44DF1-DF53-4F6F-8270-8CAC21085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3E077AAB-5814-4BD7-8F80-DC08FEABE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33690D81-3BC7-463E-A6AE-07E034170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858B3CE8-563F-4EED-9402-771F3CDC1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D7EE4219-91CE-4418-8A4D-E7398E074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F9AF7665-79C8-4952-8EED-C3B5357B7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172EC7E1-5B66-4C25-89FF-097F23564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3504C4A1-F140-46E2-A613-DFEF8B07D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5B16D9F2-7081-4BBE-B25E-929AF6C41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A2BD4B88-554C-4D6E-AD67-415C69F1B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79F0A777-D6DF-4ABE-8593-9F3C352C5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3278BC3A-ABA3-487F-84C9-94DF27298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FA5FB252-466F-4EA7-BA23-1A19D71B8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13F522CD-4BD9-46D1-99E6-BC88A4D0B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F1DD34C5-247E-4EB1-BB52-ED0717F8B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C59A218B-55A1-4348-9BD7-7D869D9A6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19AFF3E9-6A4F-445E-9F00-47475473A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3A7A4C54-2924-4EC3-9DDE-EA8CCD2A0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6E411757-1A59-4C23-B03B-C018C027F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562B81B1-EF37-4497-8306-9C20276CF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DF395F34-F432-4818-A1FC-0D7E690B7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BD86B8AF-B8AE-4F36-A237-2C103FEE7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3518CDD6-CE8D-476E-8B74-EDDC75BB1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62152D49-6B4B-44A6-BCBD-16BB587B0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CCFED090-D609-4186-9C23-5C4629B98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6025CCAA-8317-4A3F-B0AB-8212A307F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5CB6D1CD-1B16-4F39-A95D-924EBCAC1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034C6C6E-F20B-4C9C-B93D-B24702799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BA17FABC-AC1F-4CB3-91C6-042F7E9F3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C87A2F9F-6406-4C64-A67B-E5355F11D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DA7F9DF9-CFCF-4F89-B822-0A1724BC7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12223FD0-3A2C-4555-9FC9-67266C7C9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D495AFBB-657F-4091-A5D5-1C1051863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9EE01E94-50CF-4944-A0DC-778646AD45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4E6DE393-306D-4C3A-B09C-5615A98BF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EFDCB20B-5217-4955-9D57-9E1E26357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1AEE941F-4A1F-4050-9F2D-AE79D38F7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631A036C-BF81-4B5B-8A98-8A1F09513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7513D090-BCD1-4152-B69B-B93D08A87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8B0719AF-6766-4FBF-A405-F7DC4D970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8ECFFA1D-DE2F-44B6-B1E5-19A5731A1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1EBBEE90-C736-4FED-AAD9-9904E19D4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5AFFF7A6-F9FF-4BC3-A417-B46EAC5E4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31EA1933-A61B-4CE8-BC2C-1CF1F3D81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57</c:f>
              <c:numCache>
                <c:formatCode>General</c:formatCode>
                <c:ptCount val="5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numCache>
            </c:numRef>
          </c:xVal>
          <c:yVal>
            <c:numRef>
              <c:f>Sheet1!$B$2:$B$57</c:f>
              <c:numCache>
                <c:formatCode>0%;\-0%;0%</c:formatCode>
                <c:ptCount val="5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numCache>
            </c:numRef>
          </c:yVal>
          <c:bubbleSize>
            <c:numRef>
              <c:f>Sheet1!$C$2:$C$57</c:f>
              <c:numCache>
                <c:formatCode>0%;\-0%;0%</c:formatCode>
                <c:ptCount val="5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numCache>
            </c:numRef>
          </c:bubbleSize>
          <c:bubble3D val="0"/>
          <c:extLst>
            <c:ext xmlns:c15="http://schemas.microsoft.com/office/drawing/2012/chart" uri="{02D57815-91ED-43cb-92C2-25804820EDAC}">
              <c15:datalabelsRange>
                <c15:f>Sheet1!$E$2:$E$57</c15:f>
                <c15:dlblRangeCache>
                  <c:ptCount val="56"/>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0-9B64-4614-A4EF-2F0C825129C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21BF-47A7-B366-E3F0AD114BCE}"/>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3CBE-4AE8-80EA-8E325A05E683}"/>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D010-4ADB-9B73-BF9B36FE3842}"/>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FAA25DA2-CF94-46BA-92BC-450FC4EE08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EAB30F48-D5E5-41D1-A7E6-1C393D0661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AC67E648-A90F-4D97-8F26-2FDBA91C723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9B5DAA60-9258-4BB8-B831-2C89C6BC72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9430B78E-359A-4216-A952-83C6F1CA2E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77ED9DF9-F3B9-4E0E-8FA7-C5E42BD429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A7FEEF10-5624-4B1B-B00A-AAF2C3AB30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2536FC79-6BD5-41BD-80EE-39E89060C6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50E32798-1E35-414C-8C4D-BBF41036CA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07908BED-65C9-4795-BAC5-1D66B8A443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501401F0-7ED3-4EB8-9EC6-5F34387822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6F216911-89CD-4364-89B5-E070F5DCA8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489BC663-2F5C-4B3A-A6B4-61B38DAC0E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1A271145-C7F9-4925-8D6A-FB15C8752B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9B24CAF3-87C1-4E6E-8973-8C01A43B97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9E6700A7-E97C-4C27-A144-364B3A0043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14C7B5A9-0D07-4D5C-8DAD-2073D049B4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E7992C4D-D4BD-44F4-B3E7-EBE73DD3DD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A13F428E-BD8F-44B0-85C0-557687EB8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324FE64-124C-41C6-95C2-A6BD0591FA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2ED20EB5-CDA6-4382-9EC3-C2857E9DBF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F9661900-078B-46B4-A59D-5C7D72B6EA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CF41EC54-6045-49CB-A279-65025209FD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9DFE65F3-3E72-4132-8585-B4DCE755A1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FBA18B14-8DDA-437C-B1A8-ACD0E2319C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21EFDD65-0CBA-4771-9C3C-2E8845AD5E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2ED85F83-340D-47A5-929F-3D3FCA2EADE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6FCE1DB2-D016-4B9D-AC2C-81C2C88338A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02FA4607-3B4A-4D41-B282-41F21FBBD3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BF9411E5-40D4-41E0-9B7E-6363AB8384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AE026B5A-9B30-4791-8E60-63AE5A22F6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8052BD8C-5BEB-47D0-ABFF-464FB761A2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01657909-41AF-4520-9FBF-5B8701D885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D69E3E89-B1A5-43C8-83E1-E92ABB580B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E9E9FEF4-971A-4558-8BCD-D41F30D379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EA759CE8-457B-4D2F-A14D-823113AF580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2996F1B2-3620-411E-9355-8194B34FC1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487F1432-05FC-4032-B34B-7CD1B79B14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93325FBE-5BFB-41D9-A65B-8D748A4C24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68EA83FE-23CD-40DA-820E-A2AA7359F1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2ED456F2-8153-4FA0-80DC-2EA3592431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A10E3340-5235-45D0-926A-319E7BBDF4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C370E6EE-132D-42C2-8363-E4860C8659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7D50B25C-54D6-4F5E-ABF7-0BB121ABC3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709823FA-F917-49A3-8282-559A84737A0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2D02A5A4-728C-4206-919D-A1683D427CC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3B567E45-BC76-49C1-8644-12EBDC6297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7191C593-7D35-4125-91DE-9A34A4A5D6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H$1</c:f>
              <c:strCache>
                <c:ptCount val="1"/>
                <c:pt idx="0">
                  <c:v>Total Beer</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H$2:$H$37</c:f>
              <c:numCache>
                <c:formatCode>0%</c:formatCode>
                <c:ptCount val="36"/>
                <c:pt idx="0">
                  <c:v>0.95546131454801952</c:v>
                </c:pt>
                <c:pt idx="1">
                  <c:v>1.0658820616078615</c:v>
                </c:pt>
                <c:pt idx="2">
                  <c:v>1.2845151692566505</c:v>
                </c:pt>
                <c:pt idx="3">
                  <c:v>1.3313017548720483</c:v>
                </c:pt>
                <c:pt idx="4">
                  <c:v>1.1068184803119951</c:v>
                </c:pt>
                <c:pt idx="5">
                  <c:v>0.94899677223263834</c:v>
                </c:pt>
                <c:pt idx="6">
                  <c:v>0.83477183537813959</c:v>
                </c:pt>
                <c:pt idx="7">
                  <c:v>0.84011161209200691</c:v>
                </c:pt>
                <c:pt idx="8">
                  <c:v>0.77917016473858225</c:v>
                </c:pt>
                <c:pt idx="9">
                  <c:v>0.71206172491546882</c:v>
                </c:pt>
                <c:pt idx="10">
                  <c:v>0.81106709556909162</c:v>
                </c:pt>
                <c:pt idx="11">
                  <c:v>0.9277477499727792</c:v>
                </c:pt>
                <c:pt idx="12">
                  <c:v>1.0920086483852394</c:v>
                </c:pt>
                <c:pt idx="13">
                  <c:v>1.1645640879461192</c:v>
                </c:pt>
                <c:pt idx="14">
                  <c:v>1.3394712489027132</c:v>
                </c:pt>
                <c:pt idx="15">
                  <c:v>1.385364724773833</c:v>
                </c:pt>
                <c:pt idx="16">
                  <c:v>1.09543210519944</c:v>
                </c:pt>
                <c:pt idx="17">
                  <c:v>0.98674858460748094</c:v>
                </c:pt>
                <c:pt idx="18">
                  <c:v>0.84917082857101733</c:v>
                </c:pt>
                <c:pt idx="19">
                  <c:v>0.85719303641823441</c:v>
                </c:pt>
                <c:pt idx="20">
                  <c:v>0.78197004161366457</c:v>
                </c:pt>
                <c:pt idx="21">
                  <c:v>0.69703071129708638</c:v>
                </c:pt>
                <c:pt idx="22">
                  <c:v>0.79071387982439756</c:v>
                </c:pt>
                <c:pt idx="23">
                  <c:v>0.88455450114308931</c:v>
                </c:pt>
                <c:pt idx="24">
                  <c:v>1.0196652421871197</c:v>
                </c:pt>
                <c:pt idx="25">
                  <c:v>1.1154654321101694</c:v>
                </c:pt>
                <c:pt idx="26">
                  <c:v>1.3246385889547703</c:v>
                </c:pt>
                <c:pt idx="27">
                  <c:v>1.3903689367482381</c:v>
                </c:pt>
                <c:pt idx="28">
                  <c:v>1.2142901567469886</c:v>
                </c:pt>
                <c:pt idx="29">
                  <c:v>1.0101815115591093</c:v>
                </c:pt>
                <c:pt idx="30">
                  <c:v>0.86238905481134409</c:v>
                </c:pt>
                <c:pt idx="31">
                  <c:v>0.90873194300402316</c:v>
                </c:pt>
                <c:pt idx="32">
                  <c:v>0.90889323356956364</c:v>
                </c:pt>
                <c:pt idx="33">
                  <c:v>0.95210305170981779</c:v>
                </c:pt>
                <c:pt idx="34">
                  <c:v>1.0118490056185914</c:v>
                </c:pt>
                <c:pt idx="35">
                  <c:v>1.1271547091020271</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A5C6A0BC-D2EF-484D-B676-03B1AC4AEC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F170299B-C718-41AC-8861-8DCE853362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3D0121A2-5E63-48BC-A5D6-977E647865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1350369B-4373-4528-AF77-0EC1604B06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6D204820-4D68-4A50-A4AB-57A91D5D4A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C3CCC28A-20EE-4275-AE88-09D2418C6E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78F706E-5077-40A8-BE23-009F5E9B22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E582B502-A3D8-4359-9932-8421A7AF57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313EBCB-20E0-4FA9-959F-75F61E7C55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6E341076-A6FE-4811-90DF-40AA7E5003C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885537DC-519B-4361-9D1B-7AA6B5694D8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D6BF5CC9-651F-4B64-9AFA-1A73531370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DDEDC6CA-081A-472A-96EF-6A73133493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216E1A8B-60BE-404A-8950-868622E64CD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82FF66B-2416-4065-B166-CCEFC2AA67F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615FBE2F-B313-43E9-A670-D9E4218ECE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3755D66B-82C9-49F3-8B51-B77084B406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0686903F-4E50-4097-BDFB-88355A8B18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0506BEF4-4E38-4676-A002-E6DB6266DB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412FF541-73DF-46D7-9F04-29195B6C5F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B99983E3-F8B0-4985-A67E-0A1AC929CE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72F31972-F79E-4A6C-A244-15BD752DF0D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8BE0FF6B-C8A1-4CB2-A9A5-BDAD4A3271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8A95479C-2EFD-4BAA-81D0-A0A4098D3FA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2A1238DB-BB39-4A40-A9A2-6E7582D8EC3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1559B190-B876-4C69-9203-943E4D726A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673B27E2-BF24-40A0-95B2-59B3958815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E373AB27-7B19-48ED-9C80-5EC73C7889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B5901F54-F7C6-4094-92DC-C5963FFAF4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92D5C5D2-809A-4641-ABD8-977083AA982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BBE064F9-046C-426C-9A8E-BD224D70D4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690C6B98-FFDB-4EB4-BFD0-F2740DC272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B24B8392-A900-4B13-B979-519785B56F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FD6E598B-FDF1-466D-93FA-D6C12EB686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A136E16E-C7B7-4195-9048-87D02CAB58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C9EE2F1-50C1-427E-BCCF-B544473BBB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DA471B3-7DFB-4E0A-984A-B89DD18917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3CB634C-7ED8-400F-A15A-36A2ED7451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BC81C0A8-C977-49FB-BE1F-99D62728F0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41AB723-2B78-4568-A88E-A3D5B5787F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76A6CF2-C71B-4353-A155-282EF004E3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A0F412A-FA6A-4B8F-BD2C-61F7BC2E0E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FB978C11-FDDB-4145-84D9-E46BDA6011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B9B6729-7C62-437B-AE96-2980A3CF07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BE1131D-2296-4CFC-8D1A-85848F3D36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8103A91B-0548-4F64-A851-62C3CA5D42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2A9933C4-069B-44D4-BADC-884BDC1AB8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8D0C62C-9D84-402A-A139-0053E7D275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EEE10EA7-2F46-41E0-B727-4659927BD3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381A2413-6BD0-4079-8C9A-481B637860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7171F00-EB86-4328-82B1-A253971B9B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F2C9AB-FBE1-4475-8267-7D1C6EF7D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3797D993-3437-4E3E-9172-1E30AB15C0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8B03B16-DC24-4A2F-90BF-B04EE3545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3AC5E2C-2C6E-4B0A-B0A6-725B45459B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397F4EA1-2B28-421A-A9AA-0038E7CD15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9C48F5C7-E312-4EFA-A35F-5224DB1128D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D517965-DC9C-4FE5-9F3D-30F3967F19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5B93807C-D0E8-41E5-B352-72FA8D878E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5E6D122-44CC-4DA8-91DB-166E340ACC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C82682B-471C-48F2-8F6D-70EF6A0662F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8DAE423A-3D64-4F9A-AEC7-47FFAC8645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A4B591C-F0A7-4E74-BA72-B381A8B5D8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3619FA-0CF8-4C50-937F-AA394ADE57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ED11B5B1-FEDC-4443-9DC8-F9D892226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F73B3068-4420-4599-B12A-FA217B156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5A2F3CA4-54D9-4338-BB71-27CEE4A57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B316B05E-1E25-4594-A556-2B1D76BFE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708FB67A-87A7-467A-B6BD-5273099FD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B3EBF7A1-EDCA-4004-9A28-236AFE479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1BCC42E4-EEA4-48DA-A1D4-A3FA865BC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EE7EEB10-A81E-4EB8-98A8-AEF7D46F2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4F9D19DC-9FA8-4AB8-91E3-0F183A9B5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67DAEB50-EC6E-4884-8943-147D73FC8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6A7FA9C7-7C86-43E2-BC8B-7927EBA52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EA444763-0E95-42AA-A972-3155072EC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B0846FCC-B1D9-4F7C-8ED6-27FD420A3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C180F19F-2406-4200-9336-686555B29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3235C045-D8A8-4407-B49B-4DB2E5242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D581F9D1-BFAC-47D2-92B4-521FCED0D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A3CAE348-58C4-44C1-9A4B-4F834F4A5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26DC027D-3235-4409-BDA0-FDEB78CEA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EEB4D665-36C0-460D-9DC6-4C56E0BA4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0025C37F-ADF3-48A8-A6B0-3A14543FB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45E3D441-3401-44EA-9B72-6C6199F30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5C4FD610-0C78-462F-A950-BE1AA64D3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9B449C34-2154-4F6A-8D86-4428D9582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A2C9BD9B-41C2-4770-9DE0-DFFB032B2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C7DE3AE2-23D2-435E-A9A5-A7B2F89BC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AC235119-3A8E-4A21-87DD-0DEAF7199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C82E96B5-26BD-44AD-A761-0EB21526D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C8CF0F52-47AC-401E-8EA5-ADA4F1304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98E120C4-1023-4A52-8C4B-194988D39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7FACC0CB-093E-440C-947D-6DB82E957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A9CE2DC1-A982-486F-98A2-9E4007754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740175D9-7D35-42CD-BFFF-31BE3289B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A6CBC4C8-5B14-4A4C-8159-9A5476B4B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91C48011-0925-4941-8968-444E3359C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CB6F84B1-16E4-4E12-B0E8-51720B83F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9DB2B25E-139B-4A1F-A355-B672F07C0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E4CF7A03-524E-4375-9A05-890412BEF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E7F19523-D2A4-4E23-96A9-48837A13D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37CC180F-C38F-4706-BFEB-D52899694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C75D23E9-068D-4C0A-9B64-9C63006A4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87F83778-7CE4-4006-B043-62150DDB5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6268B816-EAAC-4DC8-9C0B-7EA269330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39B73FAC-460B-4FA6-8A4C-FAB32F829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8E159C28-9C73-4029-B247-E19A83E3A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9D86998A-A6B0-4F1E-846D-00A8B8F96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582D7792-851E-4DA3-A844-DEF351117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E94BA524-8040-4BBD-9050-69A1A4F56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5687A7B4-D7EE-4099-94B9-38FD47962AE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A2D59A40-F473-4A77-970A-2089CCFBE68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719FBD2B-728C-4441-8571-15220D409A5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0C8D38AE-71B9-428A-A7CE-6660F93A4F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44B70F89-0EE7-4DC5-A7DB-5E73A7C375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25D5150F-8680-452E-8BE6-90A2734664C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D1F7C3D8-CA88-4387-BF66-8D6BEFBCE06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1845B9FF-9A4D-402C-B332-B94C54F667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C8B5EEDC-8604-498A-AF87-6E124E99C3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D61AD10C-1DA0-475F-A3E1-A6ECB66951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5FCB9C08-EDC3-467D-AEDE-43211037D43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83093257-7DBE-4AAE-B035-A97EBDE434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205D8B3F-C83B-485D-B328-33EA6CC2791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9D3E86D2-8D87-4B20-9BBE-0B32D0EB64F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5A7203F5-3153-4490-9572-8CEBF1AF6D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9E036D4E-AA32-4EB8-8015-2791D28EF0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59C295E6-CE98-4175-8CF8-D083D2D0DA7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A01D1426-253C-49FA-A867-3942821621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F3F-4891-A588-66FCA4279EF0}"/>
                </c:ext>
              </c:extLst>
            </c:dLbl>
            <c:dLbl>
              <c:idx val="26"/>
              <c:tx>
                <c:rich>
                  <a:bodyPr/>
                  <a:lstStyle/>
                  <a:p>
                    <a:fld id="{EEA0C8D2-2524-4289-A829-D486A7A0B50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C98D47AD-C4B1-4940-8592-2CECC48F0DD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E3369B8A-D106-4AFC-B452-645B000C20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1E93429A-9424-4F8E-AE78-CB0FB978AD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635E9B43-D278-45C7-A70D-4960FC0427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192E9D27-C8B5-44CD-8D65-95E54CDF7A1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43151C58-EC12-474B-8A08-5C8310DEC8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3F047A9C-D9D9-4A65-93C7-136ED084BB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435C5ED3-64CA-4559-9FA7-A3B0AF16E8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CAF0FF1E-AA76-4BB1-A5A7-122FB695D1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6F3F-4891-A588-66FCA4279EF0}"/>
                </c:ext>
              </c:extLst>
            </c:dLbl>
            <c:dLbl>
              <c:idx val="44"/>
              <c:tx>
                <c:rich>
                  <a:bodyPr/>
                  <a:lstStyle/>
                  <a:p>
                    <a:fld id="{E6EB6094-68D4-4746-9FED-FF5315FF99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B222E684-7A83-48C6-A27F-2D01E911747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FE76F2AB-F886-4A19-9173-80758D8CE7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2B014969-D124-4BFD-8829-164C427CCD5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AD903AE0-FB0E-447D-ABA8-DBE0B9E628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6F3F-4891-A588-66FCA4279EF0}"/>
                </c:ext>
              </c:extLst>
            </c:dLbl>
            <c:dLbl>
              <c:idx val="51"/>
              <c:tx>
                <c:rich>
                  <a:bodyPr/>
                  <a:lstStyle/>
                  <a:p>
                    <a:fld id="{5B6B8CF5-D1F9-425C-97A9-0779B3A39F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F80D00E-2AE2-4CDE-84AE-6646B54D49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5131E3C4-EA8F-426B-8CEA-BA9523BD0A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A6DA9FCE-4AA3-49C0-B05C-6CBA0D2CE0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71EBF1B9-5389-41AF-BB72-E0C82EEB6A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AD34D4BC-7CA1-4E25-AB5D-B4DED1C1B9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227DC4BE-34A9-4F07-8597-A85263DBCAB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DC4E7DBA-3E18-49FE-B0E5-726BA58054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31569E4B-890B-4F02-8409-1C120A7F01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1425330E-EB61-428D-A486-9BFC796A12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9184EB08-9C6C-4DC6-8D51-1B77104405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0717640A-9340-48F7-8094-66D865C27BE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125EDC37-76B0-46AD-BCBF-E4082C6B9A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7732B7ED-428E-4BAE-A093-11B80AC59B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4D91DEED-17F8-4CBD-8E40-FD4A39BD50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97668230-54CA-49A9-893E-46CE96C4B7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60EECC9F-F150-4339-9B4F-2176CFE3457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126DFA80-3645-42B4-9437-131310E55D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44D89338-AC90-430C-B54E-B2E24A6BAE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DF93DEF3-2946-46EF-ADE0-5498C4D6F5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E0ABB6BA-FDAB-4BC6-BB7F-1FFD7AE836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209567B5-C6CA-4DF4-8C01-BA0B004EF2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0B58487D-9B74-4760-80A5-CDC5C520A8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2BAE012A-9F9B-4883-8F82-F99730EFE7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0E77B37F-3BF6-47BE-983D-C106016A10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7F4B54D9-9BB1-401E-AD48-5EEDCBA5BF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3DE2FD97-4D07-4AD1-AD1C-B610C82DAD9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AFCA-4943-AA4B-9818CF1C0054}"/>
                </c:ext>
              </c:extLst>
            </c:dLbl>
            <c:dLbl>
              <c:idx val="43"/>
              <c:tx>
                <c:rich>
                  <a:bodyPr/>
                  <a:lstStyle/>
                  <a:p>
                    <a:fld id="{988F9B62-8C21-415F-88D2-619DC6C84D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61EFE56E-E4FD-453D-94F1-B9B77FCCB6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9415BBC1-6CDD-4C54-AE2C-4150B99BE4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AFCA-4943-AA4B-9818CF1C0054}"/>
                </c:ext>
              </c:extLst>
            </c:dLbl>
            <c:dLbl>
              <c:idx val="49"/>
              <c:tx>
                <c:rich>
                  <a:bodyPr/>
                  <a:lstStyle/>
                  <a:p>
                    <a:fld id="{FCC373BC-E4B8-40B4-B4AB-8157FF116C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C59D5B7A-0E85-43AA-9580-485DFEE2D0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DE140148-E73D-4FDD-99D5-4ED495A034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1EAA8CDE-0860-4D7D-9216-6B0C6DD9C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A43EDF67-913F-4F2E-8BE4-E3A2881E7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EA107FAC-EBC0-4890-9CBE-B3F0493D7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979916B1-E08B-4D77-A904-BD2B5EEE2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65329FA4-19CE-4F5F-A9EC-6315C72DB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0777DA15-108E-417E-B283-503EAC202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AAC79965-7CD1-4F3B-A21F-3C7D5BED4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7CDFF339-EEF3-45AA-B972-C292AFE8F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8EF-4B2C-A45E-07CB64A14B3B}"/>
                </c:ext>
              </c:extLst>
            </c:dLbl>
            <c:dLbl>
              <c:idx val="12"/>
              <c:tx>
                <c:rich>
                  <a:bodyPr/>
                  <a:lstStyle/>
                  <a:p>
                    <a:fld id="{8CA99EA7-23D4-42D5-91E3-2453E9A37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5F254BEB-D4ED-43CE-8012-01C887C07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8EF-4B2C-A45E-07CB64A14B3B}"/>
                </c:ext>
              </c:extLst>
            </c:dLbl>
            <c:dLbl>
              <c:idx val="15"/>
              <c:tx>
                <c:rich>
                  <a:bodyPr/>
                  <a:lstStyle/>
                  <a:p>
                    <a:fld id="{E05A8D47-948E-4EAF-AD68-34517C6E7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4DF96B97-2941-4BA1-A70A-24411D7A5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8EF-4B2C-A45E-07CB64A14B3B}"/>
                </c:ext>
              </c:extLst>
            </c:dLbl>
            <c:dLbl>
              <c:idx val="18"/>
              <c:tx>
                <c:rich>
                  <a:bodyPr/>
                  <a:lstStyle/>
                  <a:p>
                    <a:fld id="{2344AE27-6BB8-4971-98EF-4503BC4B4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4CFE03C3-B060-4D8E-9559-439EE88D9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2EB1AC6E-3740-4F28-9879-77A47A22C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324F1A37-C376-458F-B8E3-A1744EC19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6033E379-1E78-4CD0-A00E-3D5FF4AA2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4518CBF7-9616-4EC2-8912-8C6739016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8EF-4B2C-A45E-07CB64A14B3B}"/>
                </c:ext>
              </c:extLst>
            </c:dLbl>
            <c:dLbl>
              <c:idx val="26"/>
              <c:tx>
                <c:rich>
                  <a:bodyPr/>
                  <a:lstStyle/>
                  <a:p>
                    <a:fld id="{D377E937-B99C-4666-A62F-CCF9433F0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34F7F8EF-F58E-4413-94DA-64F21F86C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A4BC58AE-7E48-40E8-8521-4E63104F5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F373058B-174C-49C3-9F7B-0FC255F62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F6017106-9EC9-425E-B7F2-B9E37E587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BFFF46F5-FD94-432B-B048-920B743B0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B3A7D4E7-C98D-47F1-BE84-C005E62E4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2BA89993-A1C7-48A6-8235-57EF59B16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59C62FD6-9D17-44EB-954E-ADA0CB797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C6845B4C-674E-4483-8BF5-222D2BD82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8EF-4B2C-A45E-07CB64A14B3B}"/>
                </c:ext>
              </c:extLst>
            </c:dLbl>
            <c:dLbl>
              <c:idx val="44"/>
              <c:tx>
                <c:rich>
                  <a:bodyPr/>
                  <a:lstStyle/>
                  <a:p>
                    <a:fld id="{C6A7E99E-2014-4B15-B6C4-5E8D30B02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5EA2F463-1A7B-45B4-BC62-3CE6B10C0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38711D06-C3E3-43F8-A46D-616F77B1B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D099864E-01AD-40A8-AD4C-87B91ED78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C516F129-A3F1-4959-8C36-696E5F1F6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48EF-4B2C-A45E-07CB64A14B3B}"/>
                </c:ext>
              </c:extLst>
            </c:dLbl>
            <c:dLbl>
              <c:idx val="51"/>
              <c:tx>
                <c:rich>
                  <a:bodyPr/>
                  <a:lstStyle/>
                  <a:p>
                    <a:fld id="{1EE7D7AD-8383-475B-A93B-4B3C1692E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1F997C32-2B90-45F5-BC3F-20EA736BA3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B84ACB84-8D43-4586-9011-7261558867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E36B7852-A363-4A97-B90B-BEECAC4130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C1246EE7-FB05-4659-9B25-01B135C443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358E648D-8E9B-4956-A076-44F2A7B7BF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9EEFC47F-8E14-45A8-9405-568C40CF877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FFB9A23C-9464-4330-9119-421E1FB55C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315C4D06-1C24-494B-9E09-585F78B60AB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27CF11B2-B552-41E1-BD6D-83CA50FFBA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1BB68B22-B0C0-4006-9056-3748007DE7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1E210589-64EA-4E14-8543-7ECEEEB29C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2F9C56E2-12F4-4650-B22C-BF3EB2E49A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CBAD240B-0E21-4A54-83B4-CAAE71F63A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E20DF19E-09E5-4F33-9097-381B4A54AA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2CB93E37-BC38-49DD-A172-238742092F2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9F39EEBA-E9DF-46A5-B156-CB3D6EBF23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1522-4FFF-9E56-9731F6C7602B}"/>
                </c:ext>
              </c:extLst>
            </c:dLbl>
            <c:dLbl>
              <c:idx val="25"/>
              <c:tx>
                <c:rich>
                  <a:bodyPr/>
                  <a:lstStyle/>
                  <a:p>
                    <a:fld id="{2CF767F5-A2B9-4DD8-8AC1-CC88E69263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CA2C7463-43F4-45A8-A092-49A7D02688D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EE4F7404-3338-4CE3-9084-8638192E967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E8C8B36C-705D-49CF-9020-EC3982BD76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1522-4FFF-9E56-9731F6C7602B}"/>
                </c:ext>
              </c:extLst>
            </c:dLbl>
            <c:dLbl>
              <c:idx val="31"/>
              <c:tx>
                <c:rich>
                  <a:bodyPr/>
                  <a:lstStyle/>
                  <a:p>
                    <a:fld id="{9856B1A0-5D4B-4483-AE0C-3E53AEC33A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1DAA4643-A863-477E-A732-CD6A76DDC3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D80913A4-7758-4487-BA12-D75CA6BD454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1522-4FFF-9E56-9731F6C7602B}"/>
                </c:ext>
              </c:extLst>
            </c:dLbl>
            <c:dLbl>
              <c:idx val="37"/>
              <c:tx>
                <c:rich>
                  <a:bodyPr/>
                  <a:lstStyle/>
                  <a:p>
                    <a:fld id="{5D5099B3-7842-4777-B263-9B6FBB6BFB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F9052D93-9EB5-47DD-BE8E-83DD2BCDCBF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3D1AFAD4-8986-47B8-B730-A23BEB9C0CA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1522-4FFF-9E56-9731F6C7602B}"/>
                </c:ext>
              </c:extLst>
            </c:dLbl>
            <c:dLbl>
              <c:idx val="43"/>
              <c:tx>
                <c:rich>
                  <a:bodyPr/>
                  <a:lstStyle/>
                  <a:p>
                    <a:fld id="{06D5F968-1ECD-4DCA-AC93-2691AA9682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9570DB4B-5BD3-4FFB-B097-FE1D5A138A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67C4F701-C031-46D1-9BF0-7524FED46D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1522-4FFF-9E56-9731F6C7602B}"/>
                </c:ext>
              </c:extLst>
            </c:dLbl>
            <c:dLbl>
              <c:idx val="49"/>
              <c:tx>
                <c:rich>
                  <a:bodyPr/>
                  <a:lstStyle/>
                  <a:p>
                    <a:fld id="{A42934A4-4AC2-4CB7-94D0-9439F9581D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C5A7D7FA-C8BC-4DAF-B538-5C2441CCB3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71DEE16B-83D6-461E-A6B3-6E802E281F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27/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7/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1.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2.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4.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8.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6.xml"/><Relationship Id="rId4" Type="http://schemas.openxmlformats.org/officeDocument/2006/relationships/image" Target="../media/image3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oleObject" Target="../embeddings/oleObject30.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oleObject" Target="../embeddings/oleObject30.bin"/><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31.emf"/><Relationship Id="rId9" Type="http://schemas.openxmlformats.org/officeDocument/2006/relationships/chart" Target="../charts/chart40.xml"/></Relationships>
</file>

<file path=ppt/slides/_rels/slide26.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2.xml"/><Relationship Id="rId5" Type="http://schemas.openxmlformats.org/officeDocument/2006/relationships/image" Target="../media/image31.emf"/><Relationship Id="rId10" Type="http://schemas.openxmlformats.org/officeDocument/2006/relationships/chart" Target="../charts/chart46.xml"/><Relationship Id="rId4" Type="http://schemas.openxmlformats.org/officeDocument/2006/relationships/oleObject" Target="../embeddings/oleObject30.bin"/><Relationship Id="rId9" Type="http://schemas.openxmlformats.org/officeDocument/2006/relationships/chart" Target="../charts/chart4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9.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notesSlide" Target="../notesSlides/notesSlide10.xml"/><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55.xml"/><Relationship Id="rId3" Type="http://schemas.openxmlformats.org/officeDocument/2006/relationships/notesSlide" Target="../notesSlides/notesSlide11.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3.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5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7/27/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34784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7/27/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9838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7/27/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27321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2035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870992-F0EF-B48B-C512-CAB0263607E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0870992-F0EF-B48B-C512-CAB0263607E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ECE2348F-4A5E-4377-BC6E-44DA80E64CED}" type="datetime1">
              <a:rPr lang="en-US" noProof="0" smtClean="0"/>
              <a:pPr lvl="0"/>
              <a:t>7/27/2025</a:t>
            </a:fld>
            <a:endParaRPr lang="en-US" noProof="0"/>
          </a:p>
        </p:txBody>
      </p:sp>
      <p:sp>
        <p:nvSpPr>
          <p:cNvPr id="9" name="Footer Placeholder 8">
            <a:extLst>
              <a:ext uri="{FF2B5EF4-FFF2-40B4-BE49-F238E27FC236}">
                <a16:creationId xmlns:a16="http://schemas.microsoft.com/office/drawing/2014/main" id="{4DCD2A08-01E5-6C57-C2F4-7845774327A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E87B52AC-8018-1DEA-CAEA-DD623D44C3F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dirty="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dirty="0"/>
              <a:t>Feature</a:t>
            </a:r>
            <a:r>
              <a:rPr lang="en-AE" dirty="0"/>
              <a:t> </a:t>
            </a:r>
            <a:r>
              <a:rPr lang="en-US" dirty="0"/>
              <a:t>Share vs. Fair Share </a:t>
            </a:r>
            <a:r>
              <a:rPr lang="en-US"/>
              <a:t>| Retailer </a:t>
            </a:r>
            <a:r>
              <a:rPr lang="en-AE" dirty="0"/>
              <a:t>| </a:t>
            </a:r>
            <a:r>
              <a:rPr lang="en-US" dirty="0"/>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Feature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36849936"/>
              </p:ext>
            </p:extLst>
          </p:nvPr>
        </p:nvGraphicFramePr>
        <p:xfrm>
          <a:off x="537483" y="1137274"/>
          <a:ext cx="8096662" cy="35950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0521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1BD8230-08F6-6B04-600B-F5771ED4BCB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41BD8230-08F6-6B04-600B-F5771ED4BCB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4AF59A4A-DBA3-4B15-9761-DDCAB7C5C67C}" type="datetime1">
              <a:rPr lang="en-US" noProof="0" smtClean="0"/>
              <a:pPr lvl="0"/>
              <a:t>7/27/2025</a:t>
            </a:fld>
            <a:endParaRPr lang="en-US" noProof="0"/>
          </a:p>
        </p:txBody>
      </p:sp>
      <p:sp>
        <p:nvSpPr>
          <p:cNvPr id="9" name="Footer Placeholder 8">
            <a:extLst>
              <a:ext uri="{FF2B5EF4-FFF2-40B4-BE49-F238E27FC236}">
                <a16:creationId xmlns:a16="http://schemas.microsoft.com/office/drawing/2014/main" id="{577D2D85-84DF-541E-528E-A6A57B5D4C3C}"/>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C09D557A-3BE9-D9F6-C3E6-D81AC7A58AB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Display</a:t>
            </a:r>
            <a:r>
              <a:rPr lang="en-AE"/>
              <a:t> </a:t>
            </a:r>
            <a:r>
              <a:rPr lang="en-US"/>
              <a:t>Share vs. Fair Share | Retailer </a:t>
            </a:r>
            <a:r>
              <a:rPr lang="en-AE"/>
              <a:t>| </a:t>
            </a:r>
            <a:r>
              <a:rPr lang="en-US"/>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Display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22046809"/>
              </p:ext>
            </p:extLst>
          </p:nvPr>
        </p:nvGraphicFramePr>
        <p:xfrm>
          <a:off x="540726" y="1137272"/>
          <a:ext cx="8096662" cy="35968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0720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7/27/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76837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7/27/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4371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7/27/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64579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7/27/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1950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7/27/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7345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7/27/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735736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7/27/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07607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7/27/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5764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7/27/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7934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7/27/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fontAlgn="b"/>
                      <a:r>
                        <a:rPr lang="en-US" sz="800" b="0" kern="1200" dirty="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4466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5202D-A6C3-32ED-9277-F1702C91ADE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9A04BAD-47BC-2298-1C16-B4C36E5DCA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7EF4ADA-B7D7-369C-A15C-4B55E08410F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7/27/2025</a:t>
            </a:fld>
            <a:endParaRPr lang="en-US" noProof="0"/>
          </a:p>
        </p:txBody>
      </p:sp>
      <p:sp>
        <p:nvSpPr>
          <p:cNvPr id="4" name="Footer" hidden="1">
            <a:extLst>
              <a:ext uri="{FF2B5EF4-FFF2-40B4-BE49-F238E27FC236}">
                <a16:creationId xmlns:a16="http://schemas.microsoft.com/office/drawing/2014/main" id="{678C2E9D-5AF4-53D6-B317-3A070178575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8E811E2-3B37-F4EB-21D5-6CED2A47B20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15" name="Data Source">
            <a:extLst>
              <a:ext uri="{FF2B5EF4-FFF2-40B4-BE49-F238E27FC236}">
                <a16:creationId xmlns:a16="http://schemas.microsoft.com/office/drawing/2014/main" id="{89910504-1DAA-5B13-AAC8-EE6F2AE94A85}"/>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8DE4D359-B6FF-DFAA-C099-A1C1B7AAA676}"/>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6C45166-D38E-1C96-444C-127C8300032B}"/>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81483C84-291D-696C-5801-C6D78552189A}"/>
              </a:ext>
            </a:extLst>
          </p:cNvPr>
          <p:cNvGraphicFramePr>
            <a:graphicFrameLocks noGrp="1"/>
          </p:cNvGraphicFramePr>
          <p:nvPr>
            <p:extLst>
              <p:ext uri="{D42A27DB-BD31-4B8C-83A1-F6EECF244321}">
                <p14:modId xmlns:p14="http://schemas.microsoft.com/office/powerpoint/2010/main" val="306748637"/>
              </p:ext>
            </p:extLst>
          </p:nvPr>
        </p:nvGraphicFramePr>
        <p:xfrm>
          <a:off x="543331" y="1131888"/>
          <a:ext cx="303523" cy="3449528"/>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862382">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862382">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862382">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862382">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C57BF963-75C8-3509-DF34-736E47CD2177}"/>
              </a:ext>
            </a:extLst>
          </p:cNvPr>
          <p:cNvGraphicFramePr>
            <a:graphicFrameLocks/>
          </p:cNvGraphicFramePr>
          <p:nvPr>
            <p:extLst>
              <p:ext uri="{D42A27DB-BD31-4B8C-83A1-F6EECF244321}">
                <p14:modId xmlns:p14="http://schemas.microsoft.com/office/powerpoint/2010/main" val="1633204920"/>
              </p:ext>
            </p:extLst>
          </p:nvPr>
        </p:nvGraphicFramePr>
        <p:xfrm>
          <a:off x="905321" y="1131888"/>
          <a:ext cx="7740000" cy="8297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2">
            <a:extLst>
              <a:ext uri="{FF2B5EF4-FFF2-40B4-BE49-F238E27FC236}">
                <a16:creationId xmlns:a16="http://schemas.microsoft.com/office/drawing/2014/main" id="{EF638191-9AD3-F53C-53D9-07617BF27424}"/>
              </a:ext>
            </a:extLst>
          </p:cNvPr>
          <p:cNvGraphicFramePr>
            <a:graphicFrameLocks/>
          </p:cNvGraphicFramePr>
          <p:nvPr>
            <p:extLst>
              <p:ext uri="{D42A27DB-BD31-4B8C-83A1-F6EECF244321}">
                <p14:modId xmlns:p14="http://schemas.microsoft.com/office/powerpoint/2010/main" val="974424976"/>
              </p:ext>
            </p:extLst>
          </p:nvPr>
        </p:nvGraphicFramePr>
        <p:xfrm>
          <a:off x="899999" y="1966133"/>
          <a:ext cx="7740000" cy="8815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2">
            <a:extLst>
              <a:ext uri="{FF2B5EF4-FFF2-40B4-BE49-F238E27FC236}">
                <a16:creationId xmlns:a16="http://schemas.microsoft.com/office/drawing/2014/main" id="{12FB3567-7AEE-DDCE-0F01-65DD58CA4903}"/>
              </a:ext>
            </a:extLst>
          </p:cNvPr>
          <p:cNvGraphicFramePr>
            <a:graphicFrameLocks/>
          </p:cNvGraphicFramePr>
          <p:nvPr>
            <p:extLst>
              <p:ext uri="{D42A27DB-BD31-4B8C-83A1-F6EECF244321}">
                <p14:modId xmlns:p14="http://schemas.microsoft.com/office/powerpoint/2010/main" val="3691157756"/>
              </p:ext>
            </p:extLst>
          </p:nvPr>
        </p:nvGraphicFramePr>
        <p:xfrm>
          <a:off x="907981" y="2852145"/>
          <a:ext cx="7740000" cy="8384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2">
            <a:extLst>
              <a:ext uri="{FF2B5EF4-FFF2-40B4-BE49-F238E27FC236}">
                <a16:creationId xmlns:a16="http://schemas.microsoft.com/office/drawing/2014/main" id="{64B9AD7D-6434-9BA5-BAEF-8937575651AC}"/>
              </a:ext>
            </a:extLst>
          </p:cNvPr>
          <p:cNvGraphicFramePr>
            <a:graphicFrameLocks/>
          </p:cNvGraphicFramePr>
          <p:nvPr>
            <p:extLst>
              <p:ext uri="{D42A27DB-BD31-4B8C-83A1-F6EECF244321}">
                <p14:modId xmlns:p14="http://schemas.microsoft.com/office/powerpoint/2010/main" val="1504638670"/>
              </p:ext>
            </p:extLst>
          </p:nvPr>
        </p:nvGraphicFramePr>
        <p:xfrm>
          <a:off x="902660" y="3695102"/>
          <a:ext cx="7740000" cy="103765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46630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7/27/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fontAlgn="b"/>
                      <a:r>
                        <a:rPr lang="en-US" sz="800" b="0" kern="1200" dirty="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44918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7/27/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r>
              <a:rPr lang="en-US" dirty="0"/>
              <a:t>Seasonality Index | By Sector | National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fontAlgn="b"/>
                      <a:r>
                        <a:rPr lang="en-US" sz="800" b="0" kern="1200">
                          <a:solidFill>
                            <a:srgbClr val="575555"/>
                          </a:solidFill>
                          <a:latin typeface="Nexa Bold"/>
                          <a:ea typeface="+mn-ea"/>
                          <a:cs typeface="+mn-cs"/>
                        </a:rPr>
                        <a:t>Beer</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fontAlgn="b"/>
                      <a:r>
                        <a:rPr lang="en-US" sz="800" b="0" kern="120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fontAlgn="b"/>
                      <a:r>
                        <a:rPr lang="en-US" sz="800" b="0" kern="120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fontAlgn="b"/>
                      <a:r>
                        <a:rPr lang="en-US" sz="800" b="0" kern="120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921989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7/27/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01647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2466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7/27/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99852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649471997"/>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777549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r>
              <a:rPr lang="en-GB" dirty="0"/>
              <a:t>Promotional Frequency Analysis | Economy | </a:t>
            </a:r>
            <a:r>
              <a:rPr lang="en-GB" dirty="0" err="1"/>
              <a:t>Bucegi</a:t>
            </a:r>
            <a:r>
              <a:rPr lang="en-GB" dirty="0"/>
              <a:t>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08508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7/27/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599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7/27/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481369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7/27/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3722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7/27/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806592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7/27/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93699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7/27/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663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551193-7C66-436D-8ABA-4B99F0776D1A}">
  <ds:schemaRefs>
    <ds:schemaRef ds:uri="http://schemas.microsoft.com/sharepoint/v3/contenttype/forms"/>
  </ds:schemaRefs>
</ds:datastoreItem>
</file>

<file path=customXml/itemProps2.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TotalTime>
  <Words>3808</Words>
  <Application>Microsoft Office PowerPoint</Application>
  <PresentationFormat>On-screen Show (16:9)</PresentationFormat>
  <Paragraphs>1406</Paragraphs>
  <Slides>30</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3" baseType="lpstr">
      <vt:lpstr>Aptos</vt:lpstr>
      <vt:lpstr>Arial</vt:lpstr>
      <vt:lpstr>Calibri</vt:lpstr>
      <vt:lpstr>Nexa</vt:lpstr>
      <vt:lpstr>Nexa Bold</vt:lpstr>
      <vt:lpstr>Nexa Bold (Headings)</vt:lpstr>
      <vt:lpstr>Nexa Book</vt:lpstr>
      <vt:lpstr>Nexa Book Italic</vt:lpstr>
      <vt:lpstr>Nexa-RegularItalic</vt:lpstr>
      <vt:lpstr>Open Sans</vt:lpstr>
      <vt:lpstr>Raleway</vt:lpstr>
      <vt:lpstr>PricingOne Light Template Oct 2024</vt:lpstr>
      <vt:lpstr>think-cell Slide</vt:lpstr>
      <vt:lpstr>Promo evolution (Replace With SO WHAT)</vt:lpstr>
      <vt:lpstr>VSOD Summary by Sector (Replace With SO WHAT)</vt:lpstr>
      <vt:lpstr>Value uplift by retailer by brand (Replace With SO WHAT)</vt:lpstr>
      <vt:lpstr>Volume Uplift vs discount depth (Replace With SO WHAT)</vt:lpstr>
      <vt:lpstr>Value Uplift vs Promo Efficiency Quadrant (Replace With SO WHAT)</vt:lpstr>
      <vt:lpstr>Top 20 promotions (Replace With SO WHAT)</vt:lpstr>
      <vt:lpstr>Top 20 promotions CLIENT ONLY (Replace With SO WHAT)</vt:lpstr>
      <vt:lpstr>Bottom 20 promotions CLIENT ONLY (Replace With SO WHAT)</vt:lpstr>
      <vt:lpstr>Volume Sold on Deal (Replace With SO WHAT)</vt:lpstr>
      <vt:lpstr>Promo share vs Value Share (Replace With SO WHAT)</vt:lpstr>
      <vt:lpstr>Promo Sales by total size (Replace With SO WHAT)</vt:lpstr>
      <vt:lpstr>Promo Sales by promo type (Replace With SO WHAT)</vt:lpstr>
      <vt:lpstr>Feature Share vs. Fair Share (Replace With SO WHAT)</vt:lpstr>
      <vt:lpstr>Display Share vs. Fair Share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eaa SALAH</cp:lastModifiedBy>
  <cp:revision>56</cp:revision>
  <dcterms:created xsi:type="dcterms:W3CDTF">2024-07-08T12:46:55Z</dcterms:created>
  <dcterms:modified xsi:type="dcterms:W3CDTF">2025-07-27T11:3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